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1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8D8D8D"/>
    <a:srgbClr val="444444"/>
    <a:srgbClr val="C60018"/>
    <a:srgbClr val="A20013"/>
    <a:srgbClr val="BDBDBD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624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2E74F6D9-9510-460C-A6B0-3AD9B51F8956}"/>
    <pc:docChg chg="custSel delSld modSld">
      <pc:chgData name="Meyer Raphael (PAR-ES)" userId="79615dfe-ed48-4e74-a40f-4f7b034c1c27" providerId="ADAL" clId="{2E74F6D9-9510-460C-A6B0-3AD9B51F8956}" dt="2022-03-10T10:36:35.276" v="16" actId="27918"/>
      <pc:docMkLst>
        <pc:docMk/>
      </pc:docMkLst>
      <pc:sldChg chg="modSp mod">
        <pc:chgData name="Meyer Raphael (PAR-ES)" userId="79615dfe-ed48-4e74-a40f-4f7b034c1c27" providerId="ADAL" clId="{2E74F6D9-9510-460C-A6B0-3AD9B51F8956}" dt="2022-03-10T10:36:35.276" v="16" actId="27918"/>
        <pc:sldMkLst>
          <pc:docMk/>
          <pc:sldMk cId="2641487227" sldId="271"/>
        </pc:sldMkLst>
        <pc:spChg chg="mod">
          <ac:chgData name="Meyer Raphael (PAR-ES)" userId="79615dfe-ed48-4e74-a40f-4f7b034c1c27" providerId="ADAL" clId="{2E74F6D9-9510-460C-A6B0-3AD9B51F8956}" dt="2022-03-10T10:35:44.072" v="0"/>
          <ac:spMkLst>
            <pc:docMk/>
            <pc:sldMk cId="264148722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2E74F6D9-9510-460C-A6B0-3AD9B51F8956}" dt="2022-03-10T10:35:55.864" v="5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2E74F6D9-9510-460C-A6B0-3AD9B51F8956}" dt="2022-03-10T10:36:14.321" v="12" actId="20577"/>
          <ac:spMkLst>
            <pc:docMk/>
            <pc:sldMk cId="2641487227" sldId="27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2E74F6D9-9510-460C-A6B0-3AD9B51F8956}" dt="2022-03-10T10:36:09.237" v="6"/>
          <ac:spMkLst>
            <pc:docMk/>
            <pc:sldMk cId="2641487227" sldId="271"/>
            <ac:spMk id="10" creationId="{41B9B9AB-4B12-4760-AF37-4FABDDFAE68B}"/>
          </ac:spMkLst>
        </pc:spChg>
      </pc:sldChg>
      <pc:sldChg chg="del">
        <pc:chgData name="Meyer Raphael (PAR-ES)" userId="79615dfe-ed48-4e74-a40f-4f7b034c1c27" providerId="ADAL" clId="{2E74F6D9-9510-460C-A6B0-3AD9B51F8956}" dt="2022-03-10T10:36:24.143" v="13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A09B205D-F152-4260-A08F-D50F46FAECFB}"/>
    <pc:docChg chg="delSld">
      <pc:chgData name="Meyer Raphael (PAR-ES)" userId="79615dfe-ed48-4e74-a40f-4f7b034c1c27" providerId="ADAL" clId="{A09B205D-F152-4260-A08F-D50F46FAECFB}" dt="2021-11-08T11:29:13.724" v="0" actId="47"/>
      <pc:docMkLst>
        <pc:docMk/>
      </pc:docMkLst>
      <pc:sldChg chg="del">
        <pc:chgData name="Meyer Raphael (PAR-ES)" userId="79615dfe-ed48-4e74-a40f-4f7b034c1c27" providerId="ADAL" clId="{A09B205D-F152-4260-A08F-D50F46FAECFB}" dt="2021-11-08T11:29:13.72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09B205D-F152-4260-A08F-D50F46FAECFB}" dt="2021-11-08T11:29:13.724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A09B205D-F152-4260-A08F-D50F46FAECFB}" dt="2021-11-08T11:29:13.724" v="0" actId="47"/>
        <pc:sldMkLst>
          <pc:docMk/>
          <pc:sldMk cId="1963209825" sldId="272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9C3EE6B5-CBDD-4799-BFBC-6ABA612315CD}"/>
    <pc:docChg chg="modSld">
      <pc:chgData name="Weigel Stefan (PAR-EPS)" userId="fd3b2067-2981-4ad8-bf3a-d2e1004e4fa8" providerId="ADAL" clId="{9C3EE6B5-CBDD-4799-BFBC-6ABA612315CD}" dt="2023-11-21T15:05:00.159" v="27" actId="20577"/>
      <pc:docMkLst>
        <pc:docMk/>
      </pc:docMkLst>
      <pc:sldChg chg="modSp mod">
        <pc:chgData name="Weigel Stefan (PAR-EPS)" userId="fd3b2067-2981-4ad8-bf3a-d2e1004e4fa8" providerId="ADAL" clId="{9C3EE6B5-CBDD-4799-BFBC-6ABA612315CD}" dt="2023-11-21T15:05:00.159" v="27" actId="20577"/>
        <pc:sldMkLst>
          <pc:docMk/>
          <pc:sldMk cId="2641487227" sldId="271"/>
        </pc:sldMkLst>
        <pc:spChg chg="mod">
          <ac:chgData name="Weigel Stefan (PAR-EPS)" userId="fd3b2067-2981-4ad8-bf3a-d2e1004e4fa8" providerId="ADAL" clId="{9C3EE6B5-CBDD-4799-BFBC-6ABA612315CD}" dt="2023-11-21T15:05:00.159" v="27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9C3EE6B5-CBDD-4799-BFBC-6ABA612315CD}" dt="2023-11-21T11:45:20.373" v="9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39AB77BC-DB1B-4FC0-9608-51BFAD366678}"/>
    <pc:docChg chg="modSld">
      <pc:chgData name="Weigel Stefan (PAR-EPS)" userId="fd3b2067-2981-4ad8-bf3a-d2e1004e4fa8" providerId="ADAL" clId="{39AB77BC-DB1B-4FC0-9608-51BFAD366678}" dt="2024-02-02T08:59:53.242" v="3" actId="27918"/>
      <pc:docMkLst>
        <pc:docMk/>
      </pc:docMkLst>
      <pc:sldChg chg="mod">
        <pc:chgData name="Weigel Stefan (PAR-EPS)" userId="fd3b2067-2981-4ad8-bf3a-d2e1004e4fa8" providerId="ADAL" clId="{39AB77BC-DB1B-4FC0-9608-51BFAD366678}" dt="2024-02-02T08:59:53.242" v="3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30B7A107-6B1F-447B-8DFC-B7E0C5A69D22}"/>
    <pc:docChg chg="modSld">
      <pc:chgData name="Weigel Stefan (PAR-ES)" userId="fd3b2067-2981-4ad8-bf3a-d2e1004e4fa8" providerId="ADAL" clId="{30B7A107-6B1F-447B-8DFC-B7E0C5A69D22}" dt="2023-01-31T17:59:15.758" v="22"/>
      <pc:docMkLst>
        <pc:docMk/>
      </pc:docMkLst>
      <pc:sldChg chg="modSp mod">
        <pc:chgData name="Weigel Stefan (PAR-ES)" userId="fd3b2067-2981-4ad8-bf3a-d2e1004e4fa8" providerId="ADAL" clId="{30B7A107-6B1F-447B-8DFC-B7E0C5A69D22}" dt="2023-01-31T17:59:15.758" v="22"/>
        <pc:sldMkLst>
          <pc:docMk/>
          <pc:sldMk cId="2641487227" sldId="271"/>
        </pc:sldMkLst>
        <pc:spChg chg="mod">
          <ac:chgData name="Weigel Stefan (PAR-ES)" userId="fd3b2067-2981-4ad8-bf3a-d2e1004e4fa8" providerId="ADAL" clId="{30B7A107-6B1F-447B-8DFC-B7E0C5A69D22}" dt="2023-01-25T14:35:09.401" v="1" actId="20577"/>
          <ac:spMkLst>
            <pc:docMk/>
            <pc:sldMk cId="2641487227" sldId="271"/>
            <ac:spMk id="6" creationId="{0148E78D-7FBB-46BC-A7E3-0EFE6D9E4679}"/>
          </ac:spMkLst>
        </pc:spChg>
        <pc:graphicFrameChg chg="mod">
          <ac:chgData name="Weigel Stefan (PAR-ES)" userId="fd3b2067-2981-4ad8-bf3a-d2e1004e4fa8" providerId="ADAL" clId="{30B7A107-6B1F-447B-8DFC-B7E0C5A69D22}" dt="2023-01-31T17:59:15.758" v="22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44D2B230-10B4-4502-9FFD-6F28BB44728F}"/>
    <pc:docChg chg="modSld">
      <pc:chgData name="Meyer Raphael (PAR-ES)" userId="79615dfe-ed48-4e74-a40f-4f7b034c1c27" providerId="ADAL" clId="{44D2B230-10B4-4502-9FFD-6F28BB44728F}" dt="2021-11-08T12:11:08.081" v="14" actId="1035"/>
      <pc:docMkLst>
        <pc:docMk/>
      </pc:docMkLst>
      <pc:sldChg chg="addSp modSp mod">
        <pc:chgData name="Meyer Raphael (PAR-ES)" userId="79615dfe-ed48-4e74-a40f-4f7b034c1c27" providerId="ADAL" clId="{44D2B230-10B4-4502-9FFD-6F28BB44728F}" dt="2021-11-08T12:11:08.081" v="14" actId="1035"/>
        <pc:sldMkLst>
          <pc:docMk/>
          <pc:sldMk cId="1065586608" sldId="273"/>
        </pc:sldMkLst>
        <pc:spChg chg="add mod">
          <ac:chgData name="Meyer Raphael (PAR-ES)" userId="79615dfe-ed48-4e74-a40f-4f7b034c1c27" providerId="ADAL" clId="{44D2B230-10B4-4502-9FFD-6F28BB44728F}" dt="2021-11-08T12:11:08.081" v="14" actId="1035"/>
          <ac:spMkLst>
            <pc:docMk/>
            <pc:sldMk cId="1065586608" sldId="273"/>
            <ac:spMk id="8" creationId="{372D1D2E-5445-489E-A3F2-D49DFC8BE2C6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9940708223574681E-2"/>
          <c:w val="0.77970737914140231"/>
          <c:h val="0.8199741906118294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5-EE3C-4C43-A7B7-0024E28DB0B0}"/>
              </c:ext>
            </c:extLst>
          </c:dPt>
          <c:val>
            <c:numRef>
              <c:f>data!$I$3:$I$18</c:f>
              <c:numCache>
                <c:formatCode>0.0</c:formatCode>
                <c:ptCount val="16"/>
                <c:pt idx="0">
                  <c:v>304.17453435051698</c:v>
                </c:pt>
                <c:pt idx="1">
                  <c:v>560.94169704265903</c:v>
                </c:pt>
                <c:pt idx="2">
                  <c:v>571.97518831600098</c:v>
                </c:pt>
                <c:pt idx="3">
                  <c:v>648.28783664332798</c:v>
                </c:pt>
                <c:pt idx="4">
                  <c:v>775.41062093442099</c:v>
                </c:pt>
                <c:pt idx="5">
                  <c:v>790.10082409021504</c:v>
                </c:pt>
                <c:pt idx="6">
                  <c:v>821.71542981001005</c:v>
                </c:pt>
                <c:pt idx="7">
                  <c:v>823.88945928553403</c:v>
                </c:pt>
                <c:pt idx="8">
                  <c:v>867.60331004423995</c:v>
                </c:pt>
                <c:pt idx="9">
                  <c:v>960.065163159706</c:v>
                </c:pt>
                <c:pt idx="10">
                  <c:v>1074.7297920964199</c:v>
                </c:pt>
                <c:pt idx="11">
                  <c:v>1094.2895199667601</c:v>
                </c:pt>
                <c:pt idx="12">
                  <c:v>1224.05849477017</c:v>
                </c:pt>
                <c:pt idx="13">
                  <c:v>1411.8969700724001</c:v>
                </c:pt>
                <c:pt idx="14">
                  <c:v>1510.40028281185</c:v>
                </c:pt>
                <c:pt idx="15">
                  <c:v>2178.7805092815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ser>
          <c:idx val="0"/>
          <c:order val="1"/>
          <c:tx>
            <c:strRef>
              <c:f>data!$H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E5E5E5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EB-4086-B314-698BDD6187D3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0EB-4086-B314-698BDD6187D3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0EB-4086-B314-698BDD6187D3}"/>
              </c:ext>
            </c:extLst>
          </c:dPt>
          <c:cat>
            <c:strRef>
              <c:f>data!$G$3:$G$18</c:f>
              <c:strCache>
                <c:ptCount val="16"/>
                <c:pt idx="0">
                  <c:v>Romania</c:v>
                </c:pt>
                <c:pt idx="1">
                  <c:v>Norvegia</c:v>
                </c:pt>
                <c:pt idx="2">
                  <c:v>Spagna</c:v>
                </c:pt>
                <c:pt idx="3">
                  <c:v>Polonia</c:v>
                </c:pt>
                <c:pt idx="4">
                  <c:v>Gran Bretagna</c:v>
                </c:pt>
                <c:pt idx="5">
                  <c:v>Italia</c:v>
                </c:pt>
                <c:pt idx="6">
                  <c:v>Finlandia</c:v>
                </c:pt>
                <c:pt idx="7">
                  <c:v>Belgio</c:v>
                </c:pt>
                <c:pt idx="8">
                  <c:v>Cechia</c:v>
                </c:pt>
                <c:pt idx="9">
                  <c:v>Paesi Bassi</c:v>
                </c:pt>
                <c:pt idx="10">
                  <c:v>Danimarca</c:v>
                </c:pt>
                <c:pt idx="11">
                  <c:v>Germania</c:v>
                </c:pt>
                <c:pt idx="12">
                  <c:v>Svezia</c:v>
                </c:pt>
                <c:pt idx="13">
                  <c:v>Austria</c:v>
                </c:pt>
                <c:pt idx="14">
                  <c:v>Francia</c:v>
                </c:pt>
                <c:pt idx="15">
                  <c:v>Svizzera</c:v>
                </c:pt>
              </c:strCache>
            </c:strRef>
          </c:cat>
          <c:val>
            <c:numRef>
              <c:f>data!$H$3:$H$18</c:f>
              <c:numCache>
                <c:formatCode>0.0</c:formatCode>
                <c:ptCount val="16"/>
                <c:pt idx="0">
                  <c:v>305.55380514855602</c:v>
                </c:pt>
                <c:pt idx="1">
                  <c:v>692.11823577850703</c:v>
                </c:pt>
                <c:pt idx="2">
                  <c:v>609.45292393950604</c:v>
                </c:pt>
                <c:pt idx="3">
                  <c:v>581.06116796350796</c:v>
                </c:pt>
                <c:pt idx="4">
                  <c:v>1066.9888871370799</c:v>
                </c:pt>
                <c:pt idx="5">
                  <c:v>948.769085036913</c:v>
                </c:pt>
                <c:pt idx="6">
                  <c:v>891.17462027346198</c:v>
                </c:pt>
                <c:pt idx="7">
                  <c:v>941.55404584445705</c:v>
                </c:pt>
                <c:pt idx="8">
                  <c:v>1015.15447207993</c:v>
                </c:pt>
                <c:pt idx="9">
                  <c:v>1114.4567152766999</c:v>
                </c:pt>
                <c:pt idx="10">
                  <c:v>1060.3213628993699</c:v>
                </c:pt>
                <c:pt idx="11">
                  <c:v>1205.43422716332</c:v>
                </c:pt>
                <c:pt idx="12">
                  <c:v>1415.3351764869799</c:v>
                </c:pt>
                <c:pt idx="13">
                  <c:v>1488.8107758802801</c:v>
                </c:pt>
                <c:pt idx="14">
                  <c:v>1430.5288640316101</c:v>
                </c:pt>
                <c:pt idx="15">
                  <c:v>2505.1031061581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0EB-4086-B314-698BDD618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chemeClr val="tx2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sz="1000">
                <a:solidFill>
                  <a:schemeClr val="tx2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2385781189060756"/>
          <c:y val="1.4393958798823004E-2"/>
          <c:w val="4.9926596467412362E-2"/>
          <c:h val="7.5486226794841654E-2"/>
        </c:manualLayout>
      </c:layout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Domanda di trasporto passeggeri in Europa.</a:t>
            </a:r>
            <a:endParaRPr lang="de-CH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784319321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hilometri percorsi in treno per abitante </a:t>
            </a:r>
            <a:r>
              <a:rPr kumimoji="0" lang="it-IT" sz="1400" b="0" i="0" u="none" strike="noStrike" kern="1200" cap="none" spc="3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el 2022.</a:t>
            </a:r>
            <a:endParaRPr kumimoji="0" lang="it-IT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i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Eurostat, OECD, ORR, ON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ffs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7A578EE-5B24-4458-BAAD-260D6E9FE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omanda di trasporto passeggeri in Europ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manda di trasporto passeggeri in Europa.</dc:title>
  <dc:creator>Meyer Raphael (KOM-PGA-VSF)</dc:creator>
  <cp:lastModifiedBy>Stefan Weigel (PAR-EPS)</cp:lastModifiedBy>
  <cp:revision>17</cp:revision>
  <dcterms:created xsi:type="dcterms:W3CDTF">2020-09-30T11:00:09Z</dcterms:created>
  <dcterms:modified xsi:type="dcterms:W3CDTF">2024-02-28T12:0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